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7"/>
  </p:notesMasterIdLst>
  <p:handoutMasterIdLst>
    <p:handoutMasterId r:id="rId8"/>
  </p:handoutMasterIdLst>
  <p:sldIdLst>
    <p:sldId id="271" r:id="rId2"/>
    <p:sldId id="291" r:id="rId3"/>
    <p:sldId id="290" r:id="rId4"/>
    <p:sldId id="293" r:id="rId5"/>
    <p:sldId id="294" r:id="rId6"/>
  </p:sldIdLst>
  <p:sldSz cx="12192000" cy="6858000"/>
  <p:notesSz cx="7023100" cy="93091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E0"/>
    <a:srgbClr val="FF530D"/>
    <a:srgbClr val="2B3A42"/>
    <a:srgbClr val="FE8A12"/>
    <a:srgbClr val="3F5765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3163" autoAdjust="0"/>
  </p:normalViewPr>
  <p:slideViewPr>
    <p:cSldViewPr>
      <p:cViewPr varScale="1">
        <p:scale>
          <a:sx n="87" d="100"/>
          <a:sy n="87" d="100"/>
        </p:scale>
        <p:origin x="51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2/25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2C272-AF31-448C-A49B-0F88D1C9E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ED3453-C110-4ED0-B400-F2DBD1E92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C0653A-6B5B-4712-BA31-D9FCE998DD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195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09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344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4808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think-cell Slide" r:id="rId21" imgW="180" imgH="180" progId="TCLayout.ActiveDocument.1">
                  <p:embed/>
                </p:oleObj>
              </mc:Choice>
              <mc:Fallback>
                <p:oleObj name="think-cell Slide" r:id="rId21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8F371C-23FA-4717-A661-DE2636CB79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58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FC5771-09D5-4884-B321-BFD7AECF62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2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000FC250-9443-4683-BF3C-20DF5DF7DC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25192" y="1830302"/>
            <a:ext cx="4800600" cy="2286058"/>
          </a:xfrm>
        </p:spPr>
        <p:txBody>
          <a:bodyPr/>
          <a:lstStyle/>
          <a:p>
            <a:r>
              <a:rPr lang="en-US" dirty="0"/>
              <a:t>Rating of Russian distributors,</a:t>
            </a:r>
            <a:br>
              <a:rPr lang="en-US" dirty="0"/>
            </a:br>
            <a:r>
              <a:rPr lang="en-US" dirty="0"/>
              <a:t>1-3Q 2018</a:t>
            </a:r>
          </a:p>
        </p:txBody>
      </p:sp>
    </p:spTree>
    <p:extLst>
      <p:ext uri="{BB962C8B-B14F-4D97-AF65-F5344CB8AC3E}">
        <p14:creationId xmlns:p14="http://schemas.microsoft.com/office/powerpoint/2010/main" val="1375895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870B97-C27C-446F-A70B-3FF8A94F59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65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F22556B-4274-4F7E-8296-DA063737D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4521915-5579-4302-8869-5621BAD79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lvl="0"/>
            <a:r>
              <a:rPr lang="en-US" dirty="0"/>
              <a:t>TOP-10 distributors on the market of direct drugs sales (including reimbursement drugs supply), 1-3Q 2018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EF9B0726-F6DB-4F57-A634-668B11E9A3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5398693"/>
              </p:ext>
            </p:extLst>
          </p:nvPr>
        </p:nvGraphicFramePr>
        <p:xfrm>
          <a:off x="384175" y="1285875"/>
          <a:ext cx="11339514" cy="4884420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1488398742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595782216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12763417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1132509845"/>
                    </a:ext>
                  </a:extLst>
                </a:gridCol>
                <a:gridCol w="3233714">
                  <a:extLst>
                    <a:ext uri="{9D8B030D-6E8A-4147-A177-3AD203B41FA5}">
                      <a16:colId xmlns:a16="http://schemas.microsoft.com/office/drawing/2014/main" val="1047901436"/>
                    </a:ext>
                  </a:extLst>
                </a:gridCol>
                <a:gridCol w="1889919">
                  <a:extLst>
                    <a:ext uri="{9D8B030D-6E8A-4147-A177-3AD203B41FA5}">
                      <a16:colId xmlns:a16="http://schemas.microsoft.com/office/drawing/2014/main" val="3879789708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rket share in direct sales of medication, %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direct sales of medication 1-3Q 2018/1-3Q 2017, %</a:t>
                      </a:r>
                    </a:p>
                  </a:txBody>
                  <a:tcPr marL="7620" marR="7620" marT="762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rank of gross sales, 1-3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749856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-3Q 2018</a:t>
                      </a:r>
                    </a:p>
                  </a:txBody>
                  <a:tcPr marL="7620" marR="7620" marT="7620" marB="0" anchor="ctr">
                    <a:solidFill>
                      <a:srgbClr val="00A3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-3Q 2017</a:t>
                      </a:r>
                    </a:p>
                  </a:txBody>
                  <a:tcPr marL="7620" marR="7620" marT="7620" marB="0" anchor="ctr">
                    <a:solidFill>
                      <a:srgbClr val="00A3E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0229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6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5395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4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3791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4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5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4959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komplek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9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52717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K Grand Kapi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8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846235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2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189333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6398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8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287020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vin 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3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12936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vesta Pharmacev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4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56227388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8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6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13713786"/>
                  </a:ext>
                </a:extLst>
              </a:tr>
            </a:tbl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9159689-EE9D-4B41-AF7D-EA65466FA7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+mj-lt"/>
              </a:rPr>
              <a:t>Source</a:t>
            </a:r>
            <a:r>
              <a:rPr lang="en-US" dirty="0">
                <a:latin typeface="+mj-lt"/>
              </a:rPr>
              <a:t>: based on data from distributors participating in the rating</a:t>
            </a:r>
            <a:endParaRPr lang="en-US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25067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6157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7514484"/>
              </p:ext>
            </p:extLst>
          </p:nvPr>
        </p:nvGraphicFramePr>
        <p:xfrm>
          <a:off x="384175" y="1285875"/>
          <a:ext cx="11339514" cy="41427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Relative retail sales volume, 1-3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Share of retail sales from the gross sales volume,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Katre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98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Chimki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9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Pharmkomplek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. Novgoro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2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FK Grand Kapi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2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1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1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Avesta Pharmacev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10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Zdrav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Tul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0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Volgof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Volgogra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0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7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distributors on the retail market,1-3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+mj-lt"/>
              </a:rPr>
              <a:t>Source</a:t>
            </a:r>
            <a:r>
              <a:rPr lang="en-US" dirty="0">
                <a:latin typeface="+mj-lt"/>
              </a:rPr>
              <a:t>: based on data from distributors participating in the rating</a:t>
            </a:r>
            <a:endParaRPr lang="en-US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7755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837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9629612"/>
              </p:ext>
            </p:extLst>
          </p:nvPr>
        </p:nvGraphicFramePr>
        <p:xfrm>
          <a:off x="384175" y="1285875"/>
          <a:ext cx="11339514" cy="4356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lative volume of budget sales, 1-3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hare of budget sales from the gross sales volume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standard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7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vin 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8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imex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uro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IOTEC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stor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7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distributors on the budget market,1-3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50413" y="638132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Data based on analysis of IQVIA tender base</a:t>
            </a:r>
          </a:p>
          <a:p>
            <a:r>
              <a:rPr lang="en-US" dirty="0">
                <a:latin typeface="+mj-lt"/>
              </a:rPr>
              <a:t>Source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: IQVIA, </a:t>
            </a:r>
            <a:r>
              <a:rPr lang="en-US" dirty="0">
                <a:latin typeface="+mj-lt"/>
              </a:rPr>
              <a:t>based on data from distributors participating in the rating</a:t>
            </a:r>
            <a:endParaRPr lang="en-US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16383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5794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75751737"/>
              </p:ext>
            </p:extLst>
          </p:nvPr>
        </p:nvGraphicFramePr>
        <p:xfrm>
          <a:off x="384175" y="1285875"/>
          <a:ext cx="11339514" cy="4356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lative volume of secondary distribution, 1-3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hare of secondary distribution sales from the gross sales volume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komplekt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.Novgorod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8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Chimki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 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acev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ostov-Na-Donu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2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Vitta 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0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uro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distributors on the market of secondary sales,1-3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175" y="638132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Source: Data based on analysis of IQVIA tender base</a:t>
            </a:r>
          </a:p>
        </p:txBody>
      </p:sp>
    </p:spTree>
    <p:extLst>
      <p:ext uri="{BB962C8B-B14F-4D97-AF65-F5344CB8AC3E}">
        <p14:creationId xmlns:p14="http://schemas.microsoft.com/office/powerpoint/2010/main" val="2106350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IR4iqMTr6VATIQoImO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g2djDTyO1vvJ3qMFG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97</TotalTime>
  <Words>541</Words>
  <Application>Microsoft Office PowerPoint</Application>
  <PresentationFormat>Widescreen</PresentationFormat>
  <Paragraphs>28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Arial Narrow</vt:lpstr>
      <vt:lpstr>Georgia</vt:lpstr>
      <vt:lpstr>Times New Roman</vt:lpstr>
      <vt:lpstr>Wingdings</vt:lpstr>
      <vt:lpstr>IQVIATemplate_WS_25Oct2017</vt:lpstr>
      <vt:lpstr>think-cell Slide</vt:lpstr>
      <vt:lpstr>Rating of Russian distributors, 1-3Q 2018</vt:lpstr>
      <vt:lpstr>TOP-10 distributors on the market of direct drugs sales (including reimbursement drugs supply), 1-3Q 2018</vt:lpstr>
      <vt:lpstr>TOP-10 distributors on the retail market,1-3Q 2018</vt:lpstr>
      <vt:lpstr>TOP-10 distributors on the budget market,1-3Q 2018</vt:lpstr>
      <vt:lpstr>TOP-10 distributors on the market of secondary sales,1-3Q 2018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Sudeykina EX1</dc:creator>
  <cp:lastModifiedBy>Guschina, Ekaterina EX1</cp:lastModifiedBy>
  <cp:revision>91</cp:revision>
  <cp:lastPrinted>2017-10-20T15:11:52Z</cp:lastPrinted>
  <dcterms:created xsi:type="dcterms:W3CDTF">2017-11-13T11:28:02Z</dcterms:created>
  <dcterms:modified xsi:type="dcterms:W3CDTF">2018-12-25T09:15:22Z</dcterms:modified>
</cp:coreProperties>
</file>